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49" r:id="rId2"/>
    <p:sldId id="356" r:id="rId3"/>
    <p:sldId id="340" r:id="rId4"/>
    <p:sldId id="313" r:id="rId5"/>
    <p:sldId id="344" r:id="rId6"/>
    <p:sldId id="351" r:id="rId7"/>
    <p:sldId id="289" r:id="rId8"/>
    <p:sldId id="281" r:id="rId9"/>
    <p:sldId id="333" r:id="rId10"/>
    <p:sldId id="287" r:id="rId11"/>
    <p:sldId id="290" r:id="rId12"/>
    <p:sldId id="355" r:id="rId13"/>
    <p:sldId id="345" r:id="rId14"/>
    <p:sldId id="315" r:id="rId15"/>
    <p:sldId id="284" r:id="rId16"/>
    <p:sldId id="319" r:id="rId17"/>
    <p:sldId id="354" r:id="rId18"/>
    <p:sldId id="353" r:id="rId19"/>
    <p:sldId id="350" r:id="rId20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F99FF"/>
    <a:srgbClr val="0000CC"/>
    <a:srgbClr val="0000FF"/>
    <a:srgbClr val="FFCC00"/>
    <a:srgbClr val="000099"/>
    <a:srgbClr val="99FF99"/>
    <a:srgbClr val="008000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27" autoAdjust="0"/>
    <p:restoredTop sz="86554" autoAdjust="0"/>
  </p:normalViewPr>
  <p:slideViewPr>
    <p:cSldViewPr>
      <p:cViewPr varScale="1">
        <p:scale>
          <a:sx n="98" d="100"/>
          <a:sy n="98" d="100"/>
        </p:scale>
        <p:origin x="-75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408C89-1D21-433D-A19D-DB30A9817ACD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2533AF-287D-4548-8AA9-AEC075633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258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D80426-893B-4EB1-B969-E3A75B4EC98B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EAFDE-9B85-4A78-9CEF-FCB16F2F5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695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dvanced material</a:t>
            </a:r>
            <a:r>
              <a:rPr lang="en-US" baseline="0" dirty="0" smtClean="0"/>
              <a:t> intended for graduate finance maj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1728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266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292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 “Private” company, by definition, is one that is not listed</a:t>
            </a:r>
            <a:r>
              <a:rPr lang="en-US" baseline="0" dirty="0" smtClean="0"/>
              <a:t> on public exchanges.  It is “privately” held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144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266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266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36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36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3838" algn="l"/>
            <a:r>
              <a:rPr lang="en-US" altLang="en-US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e   </a:t>
            </a:r>
            <a:r>
              <a:rPr lang="en-US" altLang="en-US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 of startup  =  $ 12.5m “Post-Money” (after investment)</a:t>
            </a:r>
          </a:p>
          <a:p>
            <a:pPr marL="223838"/>
            <a:endParaRPr lang="en-US" altLang="en-US" dirty="0" smtClean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What percentage of the shares should a $1m investor receive?  </a:t>
            </a:r>
            <a:r>
              <a:rPr lang="en-US" alt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%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236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92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err="1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T</a:t>
            </a:r>
            <a:r>
              <a:rPr lang="en-US" altLang="en-US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altLang="en-US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</a:t>
            </a:r>
            <a:r>
              <a:rPr lang="en-US" altLang="en-US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startup  </a:t>
            </a:r>
            <a:r>
              <a:rPr lang="en-US" alt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st-Money Valuation) =  $ 6.4 m</a:t>
            </a:r>
          </a:p>
          <a:p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m</a:t>
            </a:r>
            <a:r>
              <a:rPr lang="en-US" altLang="en-US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stment /  $6.4 m Post-Money Valuation =  </a:t>
            </a:r>
            <a:r>
              <a:rPr lang="en-US" altLang="en-US" b="1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6 </a:t>
            </a:r>
            <a:r>
              <a:rPr lang="en-US" altLang="en-US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17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B72CF-A895-47F1-9F5B-09A4DC827C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1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2E789-BC7D-41F6-A011-470AE536D2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091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C390BB-603C-4C72-AAD0-FEE3C65F3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046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5107D1-CA07-450D-A21B-FE2834F1F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148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2788" y="1946275"/>
            <a:ext cx="3910012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5200" y="1946275"/>
            <a:ext cx="3911600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53400" y="6477000"/>
            <a:ext cx="990600" cy="381000"/>
          </a:xfrm>
          <a:ln/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Page </a:t>
            </a:r>
            <a:fld id="{25A53417-A9C5-4A5B-83BB-FC2768F4286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093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33400" y="1320800"/>
            <a:ext cx="8067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Title Placeholder 9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0788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7200" y="1524001"/>
            <a:ext cx="8229600" cy="4602163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630238" indent="-173038">
              <a:defRPr sz="1600"/>
            </a:lvl2pPr>
            <a:lvl3pPr marL="1033463" indent="-119063">
              <a:defRPr sz="1600"/>
            </a:lvl3pPr>
            <a:lvl4pPr marL="1490663" indent="-119063">
              <a:defRPr sz="1400"/>
            </a:lvl4pPr>
            <a:lvl5pPr marL="1941513" indent="-112713"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24200" y="6413500"/>
            <a:ext cx="2895600" cy="457200"/>
          </a:xfrm>
        </p:spPr>
        <p:txBody>
          <a:bodyPr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88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367E57-490D-409F-A22D-AE22CDF725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F7820-CBB5-4637-B6FB-FBC23DD264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65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158C43-AD45-4265-9E39-F7A8E118FB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51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FE83A4-CEA8-4B27-9716-E6017EBD1E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870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88D3E1-CA6D-4EA3-9933-AB56969E47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13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F65D2-9419-4CCD-AC13-222B452B45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8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2BC02-45FB-4E75-93DC-7B28D15C66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2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4179A-7F53-4784-9823-8223C506A7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31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199" y="6477000"/>
            <a:ext cx="1076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1000" dirty="0" smtClean="0"/>
              <a:t>Page</a:t>
            </a:r>
            <a:r>
              <a:rPr lang="en-US" dirty="0" smtClean="0"/>
              <a:t> </a:t>
            </a:r>
            <a:fld id="{E5878103-2E31-4A56-952F-BF9A86B0EE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33400" y="1219200"/>
            <a:ext cx="7772400" cy="3276600"/>
          </a:xfrm>
        </p:spPr>
        <p:txBody>
          <a:bodyPr/>
          <a:lstStyle/>
          <a:p>
            <a:r>
              <a:rPr lang="en-US" altLang="en-US" b="1" dirty="0" smtClean="0">
                <a:solidFill>
                  <a:srgbClr val="FFC000"/>
                </a:solidFill>
                <a:latin typeface="Arial" charset="0"/>
              </a:rPr>
              <a:t>Valuation</a:t>
            </a:r>
            <a:r>
              <a:rPr lang="en-US" altLang="en-US" b="1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b="1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  <a:t>Determining </a:t>
            </a: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  <a:t>an </a:t>
            </a: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  <a:t>Appropriate Ownership Percentage </a:t>
            </a:r>
            <a:b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</a:b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  <a:t>for Investor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33400" y="6248400"/>
            <a:ext cx="8077200" cy="4572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chemeClr val="bg1"/>
                </a:solidFill>
              </a:rPr>
              <a:t>Published by the Entrepreneurship Foundation, a 501(c)3 non profit.   Copyright © Academy Grou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8965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82000" cy="1143000"/>
          </a:xfrm>
        </p:spPr>
        <p:txBody>
          <a:bodyPr/>
          <a:lstStyle/>
          <a:p>
            <a:r>
              <a:rPr lang="en-US" altLang="en-US" sz="4000" dirty="0">
                <a:solidFill>
                  <a:srgbClr val="FFCC00"/>
                </a:solidFill>
                <a:latin typeface="Arial" charset="0"/>
                <a:cs typeface="Arial" charset="0"/>
              </a:rPr>
              <a:t>2.  Exit Value </a:t>
            </a: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  <a:cs typeface="Arial" charset="0"/>
              </a:rPr>
              <a:t>Model for  </a:t>
            </a:r>
            <a:r>
              <a:rPr lang="en-US" altLang="en-US" sz="4000" dirty="0">
                <a:solidFill>
                  <a:srgbClr val="FFCC00"/>
                </a:solidFill>
                <a:latin typeface="Arial" charset="0"/>
                <a:cs typeface="Arial" charset="0"/>
              </a:rPr>
              <a:t>Estimating Future Valuation (</a:t>
            </a:r>
            <a:r>
              <a:rPr lang="en-US" altLang="en-US" sz="4000" dirty="0" err="1">
                <a:solidFill>
                  <a:srgbClr val="FFCC00"/>
                </a:solidFill>
                <a:latin typeface="Arial" charset="0"/>
                <a:cs typeface="Arial" charset="0"/>
              </a:rPr>
              <a:t>FV</a:t>
            </a:r>
            <a:r>
              <a:rPr lang="en-US" altLang="en-US" sz="4000" dirty="0">
                <a:solidFill>
                  <a:srgbClr val="FFCC00"/>
                </a:solidFill>
                <a:latin typeface="Arial" charset="0"/>
                <a:cs typeface="Arial" charset="0"/>
              </a:rPr>
              <a:t>)</a:t>
            </a:r>
            <a:endParaRPr lang="en-US" sz="4000" dirty="0">
              <a:solidFill>
                <a:srgbClr val="FFCC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676400"/>
            <a:ext cx="8610600" cy="47244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</a:t>
            </a:r>
            <a:r>
              <a:rPr lang="en-US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 Company Exit Values </a:t>
            </a:r>
            <a:r>
              <a:rPr lang="en-US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</a:t>
            </a:r>
          </a:p>
          <a:p>
            <a:pPr marL="458788" indent="-231775">
              <a:buFont typeface="Arial" panose="020B0604020202020204" pitchFamily="34" charset="0"/>
              <a:buChar char="•"/>
            </a:pPr>
            <a:r>
              <a:rPr lang="en-US" alt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 market valuations,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8788" indent="-231775">
              <a:buFont typeface="Arial" panose="020B0604020202020204" pitchFamily="34" charset="0"/>
              <a:buChar char="•"/>
            </a:pPr>
            <a:r>
              <a:rPr lang="en-US" alt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Buy-out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y Private Equity fund),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</a:p>
          <a:p>
            <a:pPr marL="458788" indent="-231775">
              <a:buFont typeface="Arial" panose="020B0604020202020204" pitchFamily="34" charset="0"/>
              <a:buChar char="•"/>
            </a:pPr>
            <a:r>
              <a:rPr lang="en-US" alt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yout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y large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in same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)</a:t>
            </a:r>
            <a:endParaRPr lang="en-US" altLang="en-US" sz="2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our purposes, we will assume that this method produced the same </a:t>
            </a:r>
            <a:r>
              <a:rPr lang="en-US" altLang="en-US" sz="2800" b="1" dirty="0" err="1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exit value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as the Revenue Model: </a:t>
            </a:r>
            <a:r>
              <a:rPr lang="en-US" altLang="en-US" sz="28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6m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alt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value, or Exit Value, is the amount the company should be worth to a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yer, or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t would be expected to raise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PO in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 the </a:t>
            </a:r>
            <a:r>
              <a:rPr lang="en-US" altLang="en-US" sz="2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t horizon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355F65D2-9419-4CCD-AC13-222B452B451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634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152400"/>
            <a:ext cx="8610600" cy="894080"/>
          </a:xfrm>
        </p:spPr>
        <p:txBody>
          <a:bodyPr/>
          <a:lstStyle/>
          <a:p>
            <a:r>
              <a:rPr lang="en-US" altLang="en-US" sz="40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ing Present Valuation (</a:t>
            </a:r>
            <a:r>
              <a:rPr lang="en-US" altLang="en-US" sz="40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)</a:t>
            </a:r>
            <a:endParaRPr lang="en-US" sz="5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524000"/>
            <a:ext cx="8458200" cy="49530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ember, what we estimated is Future Value (</a:t>
            </a:r>
            <a:r>
              <a:rPr lang="en-US" altLang="en-US" sz="2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of your company.  We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ll need to compute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alt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to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rt how much value you are brining to the investment deal.   (</a:t>
            </a:r>
            <a:r>
              <a:rPr lang="en-US" altLang="en-US" sz="2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know how much the investor’s cash is worth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$1 million in our example.) </a:t>
            </a:r>
          </a:p>
          <a:p>
            <a:pPr marL="0" indent="0">
              <a:buNone/>
            </a:pPr>
            <a:endParaRPr lang="en-US" alt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r>
              <a:rPr lang="en-US" dirty="0" smtClean="0"/>
              <a:t> </a:t>
            </a:r>
            <a:fld id="{355F65D2-9419-4CCD-AC13-222B452B4518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678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28600"/>
            <a:ext cx="8610600" cy="1295400"/>
          </a:xfrm>
        </p:spPr>
        <p:txBody>
          <a:bodyPr/>
          <a:lstStyle/>
          <a:p>
            <a:r>
              <a:rPr lang="en-US" altLang="en-US" sz="40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ing </a:t>
            </a:r>
            <a:r>
              <a:rPr lang="en-US" altLang="en-US" sz="40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Value </a:t>
            </a:r>
            <a:r>
              <a:rPr lang="en-US" altLang="en-US" sz="40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altLang="en-US" sz="40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Company </a:t>
            </a:r>
            <a:r>
              <a:rPr lang="en-US" altLang="en-US" sz="40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rrive at Present Value</a:t>
            </a:r>
            <a:endParaRPr lang="en-US" sz="5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33400" y="1905000"/>
            <a:ext cx="8382000" cy="43434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get your $1 million investment today, but the investor does not get his return for 5 years. </a:t>
            </a:r>
          </a:p>
          <a:p>
            <a:pPr marL="0" indent="0">
              <a:buNone/>
            </a:pPr>
            <a:endParaRPr lang="en-US" altLang="en-US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to be fair, we have to figure out what the investor’s future return is worth today.  </a:t>
            </a:r>
          </a:p>
          <a:p>
            <a:pPr marL="0" indent="0">
              <a:buNone/>
            </a:pPr>
            <a:endParaRPr lang="en-US" alt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o so, we have to </a:t>
            </a:r>
            <a:r>
              <a:rPr lang="en-US" altLang="en-US" sz="2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ture value to compensate for the return he or she could have received in a safe bet in the S&amp;P + an allowance  for the additional risk of investing in a startup.</a:t>
            </a:r>
            <a:endParaRPr lang="en-US" alt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altLang="en-US" sz="800" b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r>
              <a:rPr lang="en-US" dirty="0" smtClean="0"/>
              <a:t> </a:t>
            </a:r>
            <a:fld id="{355F65D2-9419-4CCD-AC13-222B452B4518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0714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9702" y="228600"/>
            <a:ext cx="8991600" cy="1752600"/>
          </a:xfrm>
        </p:spPr>
        <p:txBody>
          <a:bodyPr/>
          <a:lstStyle/>
          <a:p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ing </a:t>
            </a:r>
            <a:r>
              <a:rPr lang="en-US" alt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 Rate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ompensate investor for the opportunity cost of </a:t>
            </a:r>
            <a:b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receiving the capital gains and dividends from an alternative investment of portfolio of S&amp;P stocks.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52400" y="2209800"/>
            <a:ext cx="8763000" cy="4038600"/>
          </a:xfrm>
        </p:spPr>
        <p:txBody>
          <a:bodyPr/>
          <a:lstStyle/>
          <a:p>
            <a:pPr marL="0" indent="0">
              <a:buNone/>
            </a:pPr>
            <a:endParaRPr lang="en-US" altLang="en-US" sz="800" b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6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 rate 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investment opportunity cost =</a:t>
            </a:r>
            <a:b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 earnings from diversified S&amp;P portfolio =</a:t>
            </a:r>
            <a:b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nt S&amp;P 500  IRR = ~ </a:t>
            </a:r>
            <a:r>
              <a:rPr lang="en-US" altLang="en-US" sz="2600" b="1" dirty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(rounded).   </a:t>
            </a:r>
            <a:b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=      </a:t>
            </a:r>
            <a:r>
              <a:rPr lang="en-US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investors want to exit in 3 to 7 years, so assume 5)</a:t>
            </a:r>
          </a:p>
          <a:p>
            <a:pPr marL="0" indent="0">
              <a:buNone/>
            </a:pPr>
            <a:r>
              <a:rPr lang="en-US" altLang="en-US" sz="2400" dirty="0" err="1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T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en-US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assuming no dividends or royalties paid to investors)</a:t>
            </a:r>
            <a:b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 err="1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 </a:t>
            </a:r>
            <a:r>
              <a:rPr lang="en-US" altLang="en-US" sz="2400" dirty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stimated Exit Value </a:t>
            </a:r>
            <a:r>
              <a:rPr lang="en-US" altLang="en-US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$</a:t>
            </a:r>
            <a:r>
              <a:rPr lang="en-US" altLang="en-US" sz="240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m – from our example</a:t>
            </a:r>
            <a:r>
              <a:rPr lang="en-US" altLang="en-US" sz="24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/Y=    </a:t>
            </a:r>
            <a:r>
              <a:rPr lang="en-US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Opportunity cost of not investing in S&amp;P 500)</a:t>
            </a:r>
            <a:b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T   PV of startup  =  $ ___m “Post-Money” (after investment)</a:t>
            </a:r>
          </a:p>
          <a:p>
            <a:pPr marL="0" indent="0">
              <a:buNone/>
            </a:pPr>
            <a:endParaRPr lang="en-US" altLang="en-US" sz="1100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percentage of the shares should a $1m investor receive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r>
              <a:rPr lang="en-US" dirty="0" smtClean="0"/>
              <a:t> </a:t>
            </a:r>
            <a:fld id="{355F65D2-9419-4CCD-AC13-222B452B4518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5027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1143000"/>
          </a:xfrm>
        </p:spPr>
        <p:txBody>
          <a:bodyPr/>
          <a:lstStyle/>
          <a:p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ing Illiquidity and “Execution Risk” into the Discount Rate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52400" y="1524000"/>
            <a:ext cx="8839200" cy="41148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a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 risk of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ng in a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up versus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&amp;P – and the investor should also be compensated for the fact that his or her funds will not be readily available.  (</a:t>
            </a:r>
            <a:r>
              <a:rPr lang="en-US" altLang="en-US" sz="26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no exchange on which to sell shares of your company and therefor you stock is “illiquid”.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en-US" sz="2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altLang="en-US" sz="1400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fore should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to the base discount rate of </a:t>
            </a:r>
            <a:r>
              <a:rPr lang="en-US" altLang="en-US" sz="2600" b="1" dirty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an investor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easily earn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&amp;P portfolio – and with less risk and greater liquidity (easy conversion of stock to cash).  </a:t>
            </a:r>
            <a:endParaRPr lang="en-US" altLang="en-US" sz="2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355F65D2-9419-4CCD-AC13-222B452B4518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83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118547"/>
            <a:ext cx="8778240" cy="872053"/>
          </a:xfrm>
        </p:spPr>
        <p:txBody>
          <a:bodyPr/>
          <a:lstStyle/>
          <a:p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 Rate Premiums 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lliquidity and </a:t>
            </a:r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81000" y="1219200"/>
            <a:ext cx="8625840" cy="5334000"/>
          </a:xfrm>
        </p:spPr>
        <p:txBody>
          <a:bodyPr/>
          <a:lstStyle/>
          <a:p>
            <a:pPr marL="0" lvl="0" indent="0"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on Risk Premium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88" lvl="0" indent="0">
              <a:buNone/>
              <a:tabLst>
                <a:tab pos="6400800" algn="l"/>
              </a:tabLst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 risk (what if satellite crashes?)   	     5 %</a:t>
            </a:r>
          </a:p>
          <a:p>
            <a:pPr marL="230188" lvl="0" indent="0">
              <a:buNone/>
              <a:tabLst>
                <a:tab pos="6400800" algn="l"/>
              </a:tabLst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 Risk      	     5 % 	</a:t>
            </a:r>
            <a:b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on Risk 	     2 %     </a:t>
            </a:r>
          </a:p>
          <a:p>
            <a:pPr marL="230188" lvl="0" indent="0">
              <a:buNone/>
              <a:tabLst>
                <a:tab pos="6400800" algn="l"/>
              </a:tabLst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 Risk     	     0 %</a:t>
            </a:r>
            <a:b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ory (External) Risk   	     0 %    </a:t>
            </a:r>
            <a:b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y (External) Risk  	  </a:t>
            </a:r>
            <a:r>
              <a:rPr lang="en-US" altLang="en-US" sz="2400" u="sng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altLang="en-US" sz="24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0 %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b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EXECUTION RISK PREMIUM 	   1</a:t>
            </a: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%</a:t>
            </a:r>
          </a:p>
          <a:p>
            <a:pPr marL="0" lvl="0" indent="0">
              <a:buNone/>
              <a:tabLst>
                <a:tab pos="6400800" algn="l"/>
              </a:tabLst>
            </a:pPr>
            <a:r>
              <a:rPr lang="en-US" altLang="en-US" sz="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liquidity Premium 	     3 %</a:t>
            </a:r>
          </a:p>
          <a:p>
            <a:pPr marL="0" lvl="0" indent="0">
              <a:buNone/>
              <a:tabLst>
                <a:tab pos="6400800" algn="l"/>
              </a:tabLst>
            </a:pPr>
            <a:endParaRPr lang="en-US" altLang="en-US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buNone/>
              <a:tabLst>
                <a:tab pos="6400800" algn="l"/>
              </a:tabLst>
            </a:pP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Opportunity Cost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&amp;P safer return)</a:t>
            </a: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400" u="sng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altLang="en-US" sz="24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%</a:t>
            </a:r>
          </a:p>
          <a:p>
            <a:pPr marL="0" lvl="0" indent="0">
              <a:buNone/>
              <a:tabLst>
                <a:tab pos="6400800" algn="l"/>
              </a:tabLst>
            </a:pPr>
            <a:endParaRPr lang="en-US" altLang="en-US" sz="1600" b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buNone/>
              <a:tabLst>
                <a:tab pos="6400800" algn="l"/>
              </a:tabLst>
            </a:pPr>
            <a:r>
              <a:rPr lang="en-US" altLang="en-US" sz="24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Discount Rate Required by Investor	   20 %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355F65D2-9419-4CCD-AC13-222B452B4518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1651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152400"/>
            <a:ext cx="7772400" cy="1143000"/>
          </a:xfrm>
        </p:spPr>
        <p:txBody>
          <a:bodyPr/>
          <a:lstStyle/>
          <a:p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alculating PV at a </a:t>
            </a:r>
            <a:r>
              <a:rPr lang="en-US" altLang="en-US" sz="3200" dirty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IRR</a:t>
            </a:r>
            <a:endParaRPr lang="en-US" sz="32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52400" y="1600200"/>
            <a:ext cx="8915400" cy="41148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=        </a:t>
            </a:r>
            <a:r>
              <a:rPr lang="en-US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investors want to exit in 3 to 7 years, so assume 5)</a:t>
            </a:r>
          </a:p>
          <a:p>
            <a:pPr marL="0" indent="0">
              <a:buNone/>
            </a:pPr>
            <a:r>
              <a:rPr lang="en-US" altLang="en-US" sz="2400" dirty="0" err="1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T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  </a:t>
            </a:r>
            <a:r>
              <a:rPr lang="en-US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assuming no dividends or royalties paid to investors)</a:t>
            </a:r>
            <a:b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 err="1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   </a:t>
            </a:r>
            <a:r>
              <a:rPr lang="en-US" altLang="en-US" sz="24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Estimated Exit Value of $16m)</a:t>
            </a:r>
            <a:b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/Y=    </a:t>
            </a:r>
            <a:r>
              <a:rPr lang="en-US" altLang="en-US" sz="24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b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T   </a:t>
            </a:r>
            <a:r>
              <a:rPr lang="en-US" altLang="en-US" sz="2400" b="1" dirty="0">
                <a:solidFill>
                  <a:srgbClr val="99FF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4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en-US" altLang="en-US" sz="24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up 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alt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-Money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 $ ____m</a:t>
            </a:r>
          </a:p>
          <a:p>
            <a:pPr marL="0" indent="0">
              <a:buNone/>
            </a:pPr>
            <a:endParaRPr lang="en-US" alt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, now what percentage should an equity investor receive for   $1m in cash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    ____%</a:t>
            </a:r>
            <a:endParaRPr lang="en-US" alt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355F65D2-9419-4CCD-AC13-222B452B4518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433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990600"/>
            <a:ext cx="8534400" cy="2590800"/>
          </a:xfrm>
        </p:spPr>
        <p:txBody>
          <a:bodyPr/>
          <a:lstStyle/>
          <a:p>
            <a:r>
              <a:rPr lang="en-US" altLang="en-US" sz="4000" dirty="0" smtClean="0">
                <a:solidFill>
                  <a:srgbClr val="FFCC00"/>
                </a:solidFill>
                <a:latin typeface="Arial" charset="0"/>
                <a:cs typeface="Arial" charset="0"/>
              </a:rPr>
              <a:t>So, at the End of the Day, What Percentage of the Shares in Your Company is the Investor Entitled to?</a:t>
            </a:r>
            <a:endParaRPr lang="en-US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676400"/>
            <a:ext cx="7772400" cy="4876800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en-US" altLang="en-US" sz="16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16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1600" b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Page </a:t>
            </a:r>
            <a:fld id="{355F65D2-9419-4CCD-AC13-222B452B4518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137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3140" y="762000"/>
            <a:ext cx="8203660" cy="1143000"/>
          </a:xfrm>
        </p:spPr>
        <p:txBody>
          <a:bodyPr/>
          <a:lstStyle/>
          <a:p>
            <a:r>
              <a:rPr lang="en-US" sz="3600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ing Fair Allocation of Shares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2133600"/>
            <a:ext cx="8382000" cy="4419600"/>
          </a:xfrm>
        </p:spPr>
        <p:txBody>
          <a:bodyPr/>
          <a:lstStyle/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calculated </a:t>
            </a:r>
            <a:r>
              <a:rPr lang="en-US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/Y, and PV, we can then assert a fair allocation to investors =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Amount of Investment / Post-Valuation</a:t>
            </a:r>
            <a:b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600" dirty="0">
              <a:solidFill>
                <a:schemeClr val="bg1"/>
              </a:solidFill>
            </a:endParaRPr>
          </a:p>
          <a:p>
            <a:pPr marL="514350" indent="-514350" eaLnBrk="1" fontAlgn="auto" hangingPunct="1">
              <a:spcAft>
                <a:spcPts val="0"/>
              </a:spcAft>
              <a:buAutoNum type="arabicPeriod"/>
              <a:defRPr/>
            </a:pP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76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nk Slide</a:t>
            </a:r>
            <a:endParaRPr lang="en-US" dirty="0">
              <a:solidFill>
                <a:srgbClr val="0000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5F65D2-9419-4CCD-AC13-222B452B4518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587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81000"/>
            <a:ext cx="7772400" cy="1143000"/>
          </a:xfrm>
        </p:spPr>
        <p:txBody>
          <a:bodyPr/>
          <a:lstStyle/>
          <a:p>
            <a:r>
              <a:rPr lang="en-US" altLang="en-US" dirty="0" smtClean="0">
                <a:solidFill>
                  <a:srgbClr val="FFC000"/>
                </a:solidFill>
                <a:latin typeface="Arial" charset="0"/>
              </a:rPr>
              <a:t>Valuation Definition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timately, all </a:t>
            </a:r>
            <a:r>
              <a:rPr 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s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ether of public (exchange-listed) or private companies, are a measure of the </a:t>
            </a:r>
            <a:r>
              <a:rPr lang="en-US" sz="2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d future earnings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a </a:t>
            </a: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…</a:t>
            </a:r>
          </a:p>
          <a:p>
            <a:pPr marL="0" indent="0">
              <a:buNone/>
            </a:pPr>
            <a:r>
              <a:rPr lang="en-US" sz="1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8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be discounted to the present time to estimate the company’s present value.</a:t>
            </a:r>
            <a:endParaRPr lang="en-US" sz="2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FB3C738C-24FA-4C94-B796-35F5551B38A3}" type="slidenum">
              <a:rPr lang="en-US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197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81000"/>
            <a:ext cx="7772400" cy="1143000"/>
          </a:xfrm>
        </p:spPr>
        <p:txBody>
          <a:bodyPr/>
          <a:lstStyle/>
          <a:p>
            <a:r>
              <a:rPr lang="en-US" altLang="en-US" dirty="0" smtClean="0">
                <a:solidFill>
                  <a:srgbClr val="FFC000"/>
                </a:solidFill>
                <a:latin typeface="Arial" charset="0"/>
              </a:rPr>
              <a:t>Basis for </a:t>
            </a:r>
            <a:r>
              <a:rPr lang="en-US" altLang="en-US" dirty="0" smtClean="0">
                <a:solidFill>
                  <a:srgbClr val="FFC000"/>
                </a:solidFill>
                <a:latin typeface="Arial" charset="0"/>
              </a:rPr>
              <a:t>Valuation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In 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a PUBLIC company the [stock] market system determines a fair share value.  </a:t>
            </a:r>
          </a:p>
          <a:p>
            <a:pPr marL="0" indent="0" eaLnBrk="1" hangingPunct="1">
              <a:buNone/>
            </a:pPr>
            <a:endParaRPr lang="en-US" altLang="en-US" sz="1600" dirty="0">
              <a:solidFill>
                <a:schemeClr val="bg1"/>
              </a:solidFill>
              <a:latin typeface="Arial" charset="0"/>
            </a:endParaRPr>
          </a:p>
          <a:p>
            <a:pPr marL="0" indent="0" eaLnBrk="1" hangingPunct="1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But a pre-IPO PRIVATE company, by definition, has no </a:t>
            </a:r>
            <a:r>
              <a:rPr lang="en-US" altLang="en-US" sz="2800" i="1" dirty="0">
                <a:solidFill>
                  <a:schemeClr val="bg1"/>
                </a:solidFill>
                <a:latin typeface="Arial" charset="0"/>
              </a:rPr>
              <a:t>public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 trading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of 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its shares, and therefore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requires a different (and more complicated) method of determining a fair valuation that both the entrepreneur and investor can agree upon.</a:t>
            </a:r>
            <a:endParaRPr lang="en-US" altLang="en-US" sz="2800" dirty="0">
              <a:solidFill>
                <a:schemeClr val="bg1"/>
              </a:solidFill>
              <a:latin typeface="Arial" charset="0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FB3C738C-24FA-4C94-B796-35F5551B38A3}" type="slidenum">
              <a:rPr lang="en-US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354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304800"/>
            <a:ext cx="7772400" cy="1143000"/>
          </a:xfrm>
        </p:spPr>
        <p:txBody>
          <a:bodyPr/>
          <a:lstStyle/>
          <a:p>
            <a:pPr eaLnBrk="1" hangingPunct="1"/>
            <a:r>
              <a:rPr lang="en-US" altLang="en-US" dirty="0" smtClean="0">
                <a:solidFill>
                  <a:srgbClr val="FFCC00"/>
                </a:solidFill>
                <a:latin typeface="Arial" charset="0"/>
              </a:rPr>
              <a:t>Why </a:t>
            </a:r>
            <a:r>
              <a:rPr lang="en-US" altLang="en-US" dirty="0">
                <a:solidFill>
                  <a:srgbClr val="FFCC00"/>
                </a:solidFill>
                <a:latin typeface="Arial" charset="0"/>
              </a:rPr>
              <a:t>Valuation </a:t>
            </a:r>
            <a:r>
              <a:rPr lang="en-US" altLang="en-US" dirty="0" smtClean="0">
                <a:solidFill>
                  <a:srgbClr val="FFCC00"/>
                </a:solidFill>
                <a:latin typeface="Arial" charset="0"/>
              </a:rPr>
              <a:t>Is Important</a:t>
            </a:r>
            <a:endParaRPr lang="en-US" altLang="en-US" dirty="0" smtClean="0">
              <a:solidFill>
                <a:srgbClr val="FFCC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752600"/>
            <a:ext cx="8763000" cy="411480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If an angel (private individual) or Venture Capital Fund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invests 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$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1 million 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in your business, you both need to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agree on the 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percentage of stock the investor will receive, and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the percentage you </a:t>
            </a: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will retain.</a:t>
            </a:r>
          </a:p>
          <a:p>
            <a:pPr marL="0" indent="0" eaLnBrk="1" hangingPunct="1">
              <a:buNone/>
            </a:pPr>
            <a:endParaRPr lang="en-US" altLang="en-US" sz="1050" dirty="0">
              <a:solidFill>
                <a:srgbClr val="FFCC00"/>
              </a:solidFill>
              <a:latin typeface="Arial" charset="0"/>
            </a:endParaRPr>
          </a:p>
          <a:p>
            <a:pPr marL="0" indent="0" eaLnBrk="1" hangingPunct="1">
              <a:buNone/>
            </a:pPr>
            <a:r>
              <a:rPr lang="en-US" altLang="en-US" sz="2800" u="sng" dirty="0">
                <a:solidFill>
                  <a:srgbClr val="FFCC00"/>
                </a:solidFill>
                <a:latin typeface="Arial" charset="0"/>
              </a:rPr>
              <a:t>If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 we </a:t>
            </a:r>
            <a:r>
              <a:rPr lang="en-US" altLang="en-US" sz="2800" dirty="0" smtClean="0">
                <a:solidFill>
                  <a:srgbClr val="FFCC00"/>
                </a:solidFill>
                <a:latin typeface="Arial" charset="0"/>
              </a:rPr>
              <a:t>can agree that, pre-money, 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the </a:t>
            </a:r>
            <a:r>
              <a:rPr lang="en-US" altLang="en-US" sz="2800" dirty="0" smtClean="0">
                <a:solidFill>
                  <a:srgbClr val="FFCC00"/>
                </a:solidFill>
                <a:latin typeface="Arial" charset="0"/>
              </a:rPr>
              <a:t>present 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value of a </a:t>
            </a:r>
            <a:r>
              <a:rPr lang="en-US" altLang="en-US" sz="2800" dirty="0" smtClean="0">
                <a:solidFill>
                  <a:srgbClr val="FFCC00"/>
                </a:solidFill>
                <a:latin typeface="Arial" charset="0"/>
              </a:rPr>
              <a:t>your 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company </a:t>
            </a:r>
            <a:r>
              <a:rPr lang="en-US" altLang="en-US" sz="2800" dirty="0" smtClean="0">
                <a:solidFill>
                  <a:srgbClr val="FFCC00"/>
                </a:solidFill>
                <a:latin typeface="Arial" charset="0"/>
              </a:rPr>
              <a:t>(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PV) = </a:t>
            </a:r>
            <a:r>
              <a:rPr lang="en-US" altLang="en-US" sz="2800" dirty="0">
                <a:solidFill>
                  <a:srgbClr val="99FF99"/>
                </a:solidFill>
                <a:latin typeface="Arial" charset="0"/>
              </a:rPr>
              <a:t>$1m 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(</a:t>
            </a:r>
            <a:r>
              <a:rPr lang="en-US" altLang="en-US" sz="2800" i="1" dirty="0">
                <a:solidFill>
                  <a:srgbClr val="FFCC00"/>
                </a:solidFill>
                <a:latin typeface="Arial" charset="0"/>
              </a:rPr>
              <a:t>based on potential future earnings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), </a:t>
            </a:r>
            <a:r>
              <a:rPr lang="en-US" altLang="en-US" sz="2800" dirty="0" smtClean="0">
                <a:solidFill>
                  <a:srgbClr val="FFCC00"/>
                </a:solidFill>
                <a:latin typeface="Arial" charset="0"/>
              </a:rPr>
              <a:t>and 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an angel invests </a:t>
            </a:r>
            <a:r>
              <a:rPr lang="en-US" altLang="en-US" sz="2800" dirty="0" smtClean="0">
                <a:solidFill>
                  <a:srgbClr val="99FF99"/>
                </a:solidFill>
                <a:latin typeface="Arial" charset="0"/>
              </a:rPr>
              <a:t>$</a:t>
            </a:r>
            <a:r>
              <a:rPr lang="en-US" altLang="en-US" sz="2800" dirty="0">
                <a:solidFill>
                  <a:srgbClr val="99FF99"/>
                </a:solidFill>
                <a:latin typeface="Arial" charset="0"/>
              </a:rPr>
              <a:t>1m 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(</a:t>
            </a:r>
            <a:r>
              <a:rPr lang="en-US" altLang="en-US" sz="2800" i="1" dirty="0">
                <a:solidFill>
                  <a:srgbClr val="FFCC00"/>
                </a:solidFill>
                <a:latin typeface="Arial" charset="0"/>
              </a:rPr>
              <a:t>we know what </a:t>
            </a:r>
            <a:r>
              <a:rPr lang="en-US" altLang="en-US" sz="2800" i="1" u="sng" dirty="0">
                <a:solidFill>
                  <a:srgbClr val="FFCC00"/>
                </a:solidFill>
                <a:latin typeface="Arial" charset="0"/>
              </a:rPr>
              <a:t>that</a:t>
            </a:r>
            <a:r>
              <a:rPr lang="en-US" altLang="en-US" sz="2800" i="1" dirty="0">
                <a:solidFill>
                  <a:srgbClr val="FFCC00"/>
                </a:solidFill>
                <a:latin typeface="Arial" charset="0"/>
              </a:rPr>
              <a:t> is worth</a:t>
            </a:r>
            <a:r>
              <a:rPr lang="en-US" altLang="en-US" sz="2800" dirty="0">
                <a:solidFill>
                  <a:srgbClr val="FFCC00"/>
                </a:solidFill>
                <a:latin typeface="Arial" charset="0"/>
              </a:rPr>
              <a:t>), then the angel should be entitled to 50% ownership in the entrepreneur’s company.</a:t>
            </a:r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FB3C738C-24FA-4C94-B796-35F5551B38A3}" type="slidenum">
              <a:rPr lang="en-US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319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304800"/>
            <a:ext cx="8839200" cy="5562600"/>
          </a:xfrm>
        </p:spPr>
        <p:txBody>
          <a:bodyPr/>
          <a:lstStyle/>
          <a:p>
            <a:pPr eaLnBrk="1" hangingPunct="1"/>
            <a:r>
              <a:rPr lang="en-US" altLang="en-US" sz="3600" dirty="0" smtClean="0">
                <a:solidFill>
                  <a:srgbClr val="FFCC00"/>
                </a:solidFill>
                <a:latin typeface="Arial" charset="0"/>
              </a:rPr>
              <a:t>But, to arrive at the Present Valuation (PV), first we have to compute the Future Value (</a:t>
            </a:r>
            <a:r>
              <a:rPr lang="en-US" altLang="en-US" sz="3600" dirty="0" err="1" smtClean="0">
                <a:solidFill>
                  <a:srgbClr val="FFCC00"/>
                </a:solidFill>
                <a:latin typeface="Arial" charset="0"/>
              </a:rPr>
              <a:t>FV</a:t>
            </a:r>
            <a:r>
              <a:rPr lang="en-US" altLang="en-US" sz="3600" dirty="0" smtClean="0">
                <a:solidFill>
                  <a:srgbClr val="FFCC00"/>
                </a:solidFill>
                <a:latin typeface="Arial" charset="0"/>
              </a:rPr>
              <a:t>) of your company in year 5 (when investors typically want to cash out) </a:t>
            </a:r>
            <a:br>
              <a:rPr lang="en-US" altLang="en-US" sz="3600" dirty="0" smtClean="0">
                <a:solidFill>
                  <a:srgbClr val="FFCC00"/>
                </a:solidFill>
                <a:latin typeface="Arial" charset="0"/>
              </a:rPr>
            </a:br>
            <a:r>
              <a:rPr lang="en-US" altLang="en-US" sz="3600" dirty="0">
                <a:solidFill>
                  <a:srgbClr val="FFCC00"/>
                </a:solidFill>
                <a:latin typeface="Arial" charset="0"/>
              </a:rPr>
              <a:t/>
            </a:r>
            <a:br>
              <a:rPr lang="en-US" altLang="en-US" sz="3600" dirty="0">
                <a:solidFill>
                  <a:srgbClr val="FFCC00"/>
                </a:solidFill>
                <a:latin typeface="Arial" charset="0"/>
              </a:rPr>
            </a:br>
            <a:r>
              <a:rPr lang="en-US" altLang="en-US" sz="3600" dirty="0" smtClean="0">
                <a:solidFill>
                  <a:srgbClr val="FFCC00"/>
                </a:solidFill>
                <a:latin typeface="Arial" charset="0"/>
              </a:rPr>
              <a:t>…and then discount the </a:t>
            </a:r>
            <a:r>
              <a:rPr lang="en-US" altLang="en-US" sz="3600" dirty="0" err="1" smtClean="0">
                <a:solidFill>
                  <a:srgbClr val="FFCC00"/>
                </a:solidFill>
                <a:latin typeface="Arial" charset="0"/>
              </a:rPr>
              <a:t>FV</a:t>
            </a:r>
            <a:r>
              <a:rPr lang="en-US" altLang="en-US" sz="3600" dirty="0" smtClean="0">
                <a:solidFill>
                  <a:srgbClr val="FFCC00"/>
                </a:solidFill>
                <a:latin typeface="Arial" charset="0"/>
              </a:rPr>
              <a:t> back to today to determine the Present Value (PV).</a:t>
            </a:r>
            <a:endParaRPr lang="en-US" altLang="en-US" sz="3600" dirty="0" smtClean="0">
              <a:solidFill>
                <a:srgbClr val="FFCC00"/>
              </a:solidFill>
            </a:endParaRPr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FB3C738C-24FA-4C94-B796-35F5551B38A3}" type="slidenum">
              <a:rPr lang="en-US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32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362200"/>
            <a:ext cx="8458200" cy="3810000"/>
          </a:xfrm>
        </p:spPr>
        <p:txBody>
          <a:bodyPr/>
          <a:lstStyle/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REVENUE MODEL </a:t>
            </a:r>
            <a:b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sz="26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value </a:t>
            </a:r>
            <a:r>
              <a:rPr 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2600" i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</a:t>
            </a:r>
            <a:r>
              <a:rPr 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i="1" dirty="0" smtClean="0">
                <a:solidFill>
                  <a:srgbClr val="99FF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 Companies </a:t>
            </a:r>
            <a:r>
              <a:rPr lang="en-US" sz="26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6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as a percentage of their revenues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sz="2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 EXIT VALUE MODEL </a:t>
            </a:r>
            <a:b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Based on actual exit values (buy-outs or IPOs) </a:t>
            </a:r>
            <a:b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of </a:t>
            </a:r>
            <a:r>
              <a:rPr lang="en-US" sz="2600" i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</a:t>
            </a:r>
            <a:r>
              <a:rPr lang="en-US" sz="2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600" dirty="0" smtClean="0">
                <a:solidFill>
                  <a:srgbClr val="99FF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 companies</a:t>
            </a:r>
            <a:r>
              <a:rPr lang="en-US" sz="2600" i="1" u="sng" dirty="0" smtClean="0">
                <a:solidFill>
                  <a:srgbClr val="99FF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600" i="1" u="sng" dirty="0" smtClean="0">
                <a:solidFill>
                  <a:srgbClr val="99FFC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600" i="1" u="sng" dirty="0" smtClean="0">
              <a:solidFill>
                <a:srgbClr val="99FF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7772400" cy="1371600"/>
          </a:xfrm>
        </p:spPr>
        <p:txBody>
          <a:bodyPr/>
          <a:lstStyle/>
          <a:p>
            <a:r>
              <a:rPr lang="en-US" altLang="en-US" sz="3600" kern="12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s of Determining </a:t>
            </a:r>
            <a:br>
              <a:rPr lang="en-US" altLang="en-US" sz="3600" kern="12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3600" kern="12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Value (</a:t>
            </a:r>
            <a:r>
              <a:rPr lang="en-US" altLang="en-US" sz="3600" kern="1200" dirty="0" err="1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altLang="en-US" sz="3600" kern="12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69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152400"/>
            <a:ext cx="7772400" cy="1143000"/>
          </a:xfrm>
        </p:spPr>
        <p:txBody>
          <a:bodyPr/>
          <a:lstStyle/>
          <a:p>
            <a:r>
              <a:rPr lang="en-US" altLang="en-US" sz="360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tion of Comparable </a:t>
            </a:r>
            <a:r>
              <a:rPr lang="en-US" altLang="en-US" sz="36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COMPANIES. </a:t>
            </a:r>
            <a:r>
              <a:rPr lang="en-US" alt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icult to find for unlisted companies. 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s may know of comparables or current norms in startup investing marketplace.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OMPANIES. Look for companies in same industry.  Compare sales to market value (stock price x number of outstanding share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355F65D2-9419-4CCD-AC13-222B452B451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4211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304800"/>
            <a:ext cx="8534400" cy="1143000"/>
          </a:xfrm>
        </p:spPr>
        <p:txBody>
          <a:bodyPr/>
          <a:lstStyle/>
          <a:p>
            <a:r>
              <a:rPr lang="en-US" altLang="en-US" sz="4000" dirty="0" smtClean="0">
                <a:solidFill>
                  <a:srgbClr val="FFCC00"/>
                </a:solidFill>
                <a:latin typeface="Arial" charset="0"/>
                <a:cs typeface="Arial" charset="0"/>
              </a:rPr>
              <a:t>1.  Revenue Model for Estimating Future Valuation (</a:t>
            </a:r>
            <a:r>
              <a:rPr lang="en-US" altLang="en-US" sz="4000" dirty="0" err="1" smtClean="0">
                <a:solidFill>
                  <a:srgbClr val="FFCC00"/>
                </a:solidFill>
                <a:latin typeface="Arial" charset="0"/>
                <a:cs typeface="Arial" charset="0"/>
              </a:rPr>
              <a:t>FV</a:t>
            </a:r>
            <a:r>
              <a:rPr lang="en-US" altLang="en-US" sz="4000" dirty="0">
                <a:solidFill>
                  <a:srgbClr val="FFCC00"/>
                </a:solidFill>
                <a:latin typeface="Arial" charset="0"/>
                <a:cs typeface="Arial" charset="0"/>
              </a:rPr>
              <a:t>)</a:t>
            </a:r>
            <a:endParaRPr lang="en-US" sz="40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676400"/>
            <a:ext cx="7772400" cy="4876800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en-US" altLang="en-US" sz="16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16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1600" b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arket Cap (Valuation)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altLang="en-US" sz="28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8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 </a:t>
            </a:r>
            <a:r>
              <a:rPr lang="en-US" altLang="en-US" sz="2800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s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…</a:t>
            </a:r>
          </a:p>
          <a:p>
            <a:pPr marL="0" indent="0">
              <a:lnSpc>
                <a:spcPct val="90000"/>
              </a:lnSpc>
              <a:buNone/>
            </a:pPr>
            <a:endParaRPr lang="en-US" altLang="en-US" sz="2000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divided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the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s of those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s ... </a:t>
            </a:r>
            <a:endParaRPr lang="en-US" alt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en-US" alt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multiplied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the Forecasted Revenue of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i="1" u="sng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</a:t>
            </a:r>
            <a:r>
              <a:rPr lang="en-US" altLang="en-US" sz="2800" i="1" u="sng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</a:t>
            </a:r>
            <a:r>
              <a:rPr lang="en-US" altLang="en-US" sz="2800" i="1" dirty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 5 </a:t>
            </a:r>
          </a:p>
          <a:p>
            <a:pPr marL="0" indent="0">
              <a:lnSpc>
                <a:spcPct val="90000"/>
              </a:lnSpc>
              <a:buNone/>
            </a:pPr>
            <a:endParaRPr lang="en-US" alt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 Valuation of </a:t>
            </a:r>
            <a:r>
              <a:rPr lang="en-US" altLang="en-US" sz="2800" i="1" u="sng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company</a:t>
            </a:r>
            <a:r>
              <a:rPr lang="en-US" altLang="en-US" sz="2800" b="1" i="1" dirty="0" smtClean="0">
                <a:solidFill>
                  <a:schemeClr val="accent2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sz="2800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years from now</a:t>
            </a:r>
            <a:endParaRPr lang="en-US" altLang="en-US" sz="2800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Page </a:t>
            </a:r>
            <a:fld id="{355F65D2-9419-4CCD-AC13-222B452B451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142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152400"/>
            <a:ext cx="8305800" cy="1143000"/>
          </a:xfrm>
        </p:spPr>
        <p:txBody>
          <a:bodyPr/>
          <a:lstStyle/>
          <a:p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Computation of Future Value (</a:t>
            </a:r>
            <a:r>
              <a:rPr lang="en-US" sz="3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Using the Revenue Model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1"/>
          </p:nvPr>
        </p:nvSpPr>
        <p:spPr>
          <a:xfrm>
            <a:off x="228600" y="1752600"/>
            <a:ext cx="8762999" cy="4302125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Valuation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Revenue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altLang="en-US" sz="2800" u="sng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 companies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  Forecasted Revenue of target company in year 5 =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 of target </a:t>
            </a:r>
            <a:r>
              <a:rPr lang="en-US" alt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in its year 5.</a:t>
            </a:r>
          </a:p>
          <a:p>
            <a:pPr marL="0" indent="0">
              <a:buNone/>
            </a:pPr>
            <a:r>
              <a:rPr lang="en-US" altLang="en-US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altLang="en-US" sz="11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ts val="2800"/>
              </a:lnSpc>
              <a:buNone/>
            </a:pPr>
            <a:r>
              <a:rPr lang="en-US" sz="2800" u="sng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V</a:t>
            </a:r>
            <a:r>
              <a:rPr lang="en-US" sz="2400" u="sng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arable</a:t>
            </a:r>
            <a:r>
              <a:rPr lang="en-US" sz="2400" u="sng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mpany</a:t>
            </a:r>
            <a:r>
              <a:rPr lang="en-US" sz="2400" u="sng" dirty="0">
                <a:solidFill>
                  <a:srgbClr val="0000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</a:t>
            </a:r>
            <a:r>
              <a:rPr lang="en-US" sz="24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rget</a:t>
            </a:r>
            <a:r>
              <a:rPr lang="en-US" sz="2400" baseline="-25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  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  <a:r>
              <a:rPr lang="en-US" sz="2400" baseline="-25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rget</a:t>
            </a:r>
            <a:r>
              <a:rPr lang="en-US" sz="2400" baseline="-25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en-US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lnSpc>
                <a:spcPts val="2400"/>
              </a:lnSpc>
              <a:buNone/>
            </a:pPr>
            <a:r>
              <a:rPr lang="en-US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</a:t>
            </a:r>
            <a:r>
              <a:rPr lang="en-US" sz="24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arable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mpany</a:t>
            </a:r>
          </a:p>
          <a:p>
            <a:pPr marL="0" indent="0">
              <a:buNone/>
            </a:pPr>
            <a:endParaRPr lang="en-US" sz="28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800" dirty="0">
                <a:solidFill>
                  <a:srgbClr val="FFC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ample:</a:t>
            </a:r>
            <a:endParaRPr lang="en-US" sz="2400" i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ts val="2800"/>
              </a:lnSpc>
              <a:buNone/>
            </a:pPr>
            <a:r>
              <a:rPr lang="en-US" sz="2800" u="sng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6,000m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 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m</a:t>
            </a:r>
            <a:r>
              <a:rPr lang="en-US" sz="2800" baseline="-25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  <a:r>
              <a:rPr lang="en-US" sz="4800" baseline="-25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6 </a:t>
            </a:r>
            <a:r>
              <a:rPr lang="en-US" sz="2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0m     = </a:t>
            </a:r>
            <a:r>
              <a:rPr lang="en-US" sz="2800" b="1" dirty="0">
                <a:solidFill>
                  <a:srgbClr val="FFC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m </a:t>
            </a:r>
            <a:r>
              <a:rPr lang="en-US" sz="2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V</a:t>
            </a: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2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7,000m</a:t>
            </a:r>
            <a:endParaRPr lang="en-US" sz="2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 Page </a:t>
            </a:r>
            <a:fld id="{355F65D2-9419-4CCD-AC13-222B452B451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92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TcJdMFHEac6TYAVx13w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2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3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4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5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6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7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8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41</Words>
  <Application>Microsoft Office PowerPoint</Application>
  <PresentationFormat>On-screen Show (4:3)</PresentationFormat>
  <Paragraphs>128</Paragraphs>
  <Slides>19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Default Design</vt:lpstr>
      <vt:lpstr>Valuation  Determining an Appropriate Ownership Percentage  for Investors</vt:lpstr>
      <vt:lpstr>Valuation Definition</vt:lpstr>
      <vt:lpstr>Basis for Valuation</vt:lpstr>
      <vt:lpstr>Why Valuation Is Important</vt:lpstr>
      <vt:lpstr>But, to arrive at the Present Valuation (PV), first we have to compute the Future Value (FV) of your company in year 5 (when investors typically want to cash out)   …and then discount the FV back to today to determine the Present Value (PV).</vt:lpstr>
      <vt:lpstr>Methods of Determining  Future Value (FV)</vt:lpstr>
      <vt:lpstr>Definition of Comparable Companies</vt:lpstr>
      <vt:lpstr>1.  Revenue Model for Estimating Future Valuation (FV)</vt:lpstr>
      <vt:lpstr>Example Computation of Future Value (FV) Using the Revenue Model</vt:lpstr>
      <vt:lpstr>2.  Exit Value Model for  Estimating Future Valuation (FV)</vt:lpstr>
      <vt:lpstr>Determining Present Valuation (PV)</vt:lpstr>
      <vt:lpstr>Discounting Future Value of Your Company to Arrive at Present Value</vt:lpstr>
      <vt:lpstr>Determining Discount Rate  to Compensate investor for the opportunity cost of  not receiving the capital gains and dividends from an alternative investment of portfolio of S&amp;P stocks.</vt:lpstr>
      <vt:lpstr>Factoring Illiquidity and “Execution Risk” into the Discount Rate</vt:lpstr>
      <vt:lpstr>Discount Rate Premiums for illiquidity and Risk</vt:lpstr>
      <vt:lpstr>Recalculating PV at a 20% IRR</vt:lpstr>
      <vt:lpstr>So, at the End of the Day, What Percentage of the Shares in Your Company is the Investor Entitled to?</vt:lpstr>
      <vt:lpstr>Computing Fair Allocation of Shares</vt:lpstr>
      <vt:lpstr>Blank Slid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1-13T03:22:13Z</dcterms:created>
  <dcterms:modified xsi:type="dcterms:W3CDTF">2019-08-11T19:53:15Z</dcterms:modified>
</cp:coreProperties>
</file>